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32918400" cy="32004000"/>
  <p:notesSz cx="23317200" cy="32461200"/>
  <p:custDataLst>
    <p:tags r:id="rId4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5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310"/>
    <p:restoredTop sz="95915"/>
  </p:normalViewPr>
  <p:slideViewPr>
    <p:cSldViewPr>
      <p:cViewPr>
        <p:scale>
          <a:sx n="29" d="100"/>
          <a:sy n="29" d="100"/>
        </p:scale>
        <p:origin x="848" y="-176"/>
      </p:cViewPr>
      <p:guideLst>
        <p:guide orient="horz" pos="1015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ftware router</c:v>
                </c:pt>
              </c:strCache>
            </c:strRef>
          </c:tx>
          <c:spPr>
            <a:ln w="63500" cap="rnd">
              <a:solidFill>
                <a:srgbClr val="0000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3366FF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599888851189292"/>
                  <c:y val="0.0625627719838251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NAP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Active Packets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31649331352155"/>
                  <c:y val="0.0682736594310022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Click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CPU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33544711071592"/>
                  <c:y val="0.0739845468781794"/>
                </c:manualLayout>
              </c:layout>
              <c:tx>
                <c:rich>
                  <a:bodyPr/>
                  <a:lstStyle/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IXP 2400</a:t>
                    </a:r>
                  </a:p>
                  <a:p>
                    <a:r>
                      <a:rPr lang="is-I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NPU)</a:t>
                    </a:r>
                    <a:endParaRPr lang="is-I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879082071951784"/>
                  <c:y val="0.0779449732162605"/>
                </c:manualLayout>
              </c:layout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RouteBricks</a:t>
                    </a:r>
                  </a:p>
                  <a:p>
                    <a:r>
                      <a:rPr lang="en-US" sz="160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781579045883925"/>
                  <c:y val="0.0636788948696414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PacketShader </a:t>
                    </a:r>
                  </a:p>
                  <a:p>
                    <a:r>
                      <a:rPr lang="en-US" sz="160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GPU)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4EC-4EE5-9F71-91F8806C0B04}"/>
                </c:ext>
                <c:ext xmlns:c15="http://schemas.microsoft.com/office/drawing/2012/chart" uri="{CE6537A1-D6FC-4f65-9D91-7224C49458BB}">
                  <c15:layout>
                    <c:manualLayout>
                      <c:w val="0.136903303093452"/>
                      <c:h val="0.144369010154199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-0.000341945865169374"/>
                  <c:y val="0.11393120118320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SoftNIC</a:t>
                    </a:r>
                    <a:endParaRPr lang="en-US" sz="1600" dirty="0" smtClean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  <a:p>
                    <a:r>
                      <a:rPr lang="en-US" sz="1600" dirty="0" smtClean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(multi-core)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7</c:v>
                </c:pt>
                <c:pt idx="2">
                  <c:v>4.0</c:v>
                </c:pt>
                <c:pt idx="5">
                  <c:v>35.0</c:v>
                </c:pt>
                <c:pt idx="6">
                  <c:v>40.0</c:v>
                </c:pt>
                <c:pt idx="7">
                  <c:v>1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34EC-4EE5-9F71-91F8806C0B04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Hardware router</c:v>
                </c:pt>
              </c:strCache>
            </c:strRef>
          </c:tx>
          <c:spPr>
            <a:ln w="63500" cap="rnd">
              <a:solidFill>
                <a:srgbClr val="99162D"/>
              </a:solidFill>
              <a:round/>
            </a:ln>
            <a:effectLst/>
          </c:spPr>
          <c:marker>
            <c:symbol val="square"/>
            <c:size val="10"/>
            <c:spPr>
              <a:solidFill>
                <a:srgbClr val="FF6666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Catalys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3236116866971"/>
                  <c:y val="-0.061520422605671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Broadcom</a:t>
                    </a:r>
                  </a:p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567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Scorpion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600" smtClean="0">
                        <a:solidFill>
                          <a:srgbClr val="767171"/>
                        </a:solidFill>
                      </a:rPr>
                      <a:t>Trident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rgbClr val="767171"/>
                        </a:solidFill>
                      </a:rPr>
                      <a:t>Tomahawk</a:t>
                    </a:r>
                    <a:endParaRPr lang="en-US" dirty="0" smtClean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4EC-4EE5-9F71-91F8806C0B0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>
                    <a:solidFill>
                      <a:srgbClr val="76717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9.0</c:v>
                </c:pt>
                <c:pt idx="1">
                  <c:v>2000.0</c:v>
                </c:pt>
                <c:pt idx="2">
                  <c:v>2002.0</c:v>
                </c:pt>
                <c:pt idx="3">
                  <c:v>2004.0</c:v>
                </c:pt>
                <c:pt idx="4">
                  <c:v>2007.0</c:v>
                </c:pt>
                <c:pt idx="5">
                  <c:v>2009.0</c:v>
                </c:pt>
                <c:pt idx="6">
                  <c:v>2010.0</c:v>
                </c:pt>
                <c:pt idx="7">
                  <c:v>2014.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32.0</c:v>
                </c:pt>
                <c:pt idx="3">
                  <c:v>80.0</c:v>
                </c:pt>
                <c:pt idx="4">
                  <c:v>240.0</c:v>
                </c:pt>
                <c:pt idx="6">
                  <c:v>640.0</c:v>
                </c:pt>
                <c:pt idx="7">
                  <c:v>3200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34EC-4EE5-9F71-91F8806C0B0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2118889376"/>
        <c:axId val="-2083104848"/>
      </c:lineChart>
      <c:catAx>
        <c:axId val="-211888937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>
                    <a:latin typeface="Seravek"/>
                    <a:cs typeface="Seravek"/>
                  </a:rPr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83104848"/>
        <c:crosses val="autoZero"/>
        <c:auto val="1"/>
        <c:lblAlgn val="ctr"/>
        <c:lblOffset val="100"/>
        <c:noMultiLvlLbl val="0"/>
      </c:catAx>
      <c:valAx>
        <c:axId val="-2083104848"/>
        <c:scaling>
          <c:logBase val="10.0"/>
          <c:orientation val="minMax"/>
          <c:min val="0.01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>
                    <a:latin typeface="Seravek"/>
                    <a:cs typeface="Seravek"/>
                  </a:defRPr>
                </a:pPr>
                <a:r>
                  <a:rPr lang="en-US" sz="2000">
                    <a:latin typeface="Seravek"/>
                    <a:cs typeface="Seravek"/>
                  </a:rPr>
                  <a:t>Gbit/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8889376"/>
        <c:crosses val="autoZero"/>
        <c:crossBetween val="between"/>
      </c:valAx>
      <c:spPr>
        <a:noFill/>
        <a:ln>
          <a:solidFill>
            <a:schemeClr val="bg2">
              <a:lumMod val="90000"/>
            </a:schemeClr>
          </a:solidFill>
        </a:ln>
        <a:effectLst/>
      </c:spPr>
    </c:plotArea>
    <c:legend>
      <c:legendPos val="t"/>
      <c:layout>
        <c:manualLayout>
          <c:xMode val="edge"/>
          <c:yMode val="edge"/>
          <c:x val="0.69191874655091"/>
          <c:y val="0.495975134003616"/>
          <c:w val="0.288512693134399"/>
          <c:h val="0.185857712907838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20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3208000" y="0"/>
            <a:ext cx="10104438" cy="1627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9597E-C827-1E4D-8E79-6304D05181A1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24563" y="4057650"/>
            <a:ext cx="11268075" cy="1095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332038" y="15622588"/>
            <a:ext cx="18653125" cy="127809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208000" y="30834013"/>
            <a:ext cx="10104438" cy="1627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C7123-2BF6-5E4C-BE25-C442369D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9942003"/>
            <a:ext cx="27980640" cy="68601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8135600"/>
            <a:ext cx="23042880" cy="8178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7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5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3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22402821"/>
            <a:ext cx="19751040" cy="264478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2859619"/>
            <a:ext cx="19751040" cy="19202400"/>
          </a:xfrm>
        </p:spPr>
        <p:txBody>
          <a:bodyPr/>
          <a:lstStyle>
            <a:lvl1pPr marL="0" indent="0">
              <a:buNone/>
              <a:defRPr sz="8436"/>
            </a:lvl1pPr>
            <a:lvl2pPr marL="1207878" indent="0">
              <a:buNone/>
              <a:defRPr sz="7396"/>
            </a:lvl2pPr>
            <a:lvl3pPr marL="2415758" indent="0">
              <a:buNone/>
              <a:defRPr sz="6356"/>
            </a:lvl3pPr>
            <a:lvl4pPr marL="3623637" indent="0">
              <a:buNone/>
              <a:defRPr sz="5258"/>
            </a:lvl4pPr>
            <a:lvl5pPr marL="4831517" indent="0">
              <a:buNone/>
              <a:defRPr sz="5258"/>
            </a:lvl5pPr>
            <a:lvl6pPr marL="6039394" indent="0">
              <a:buNone/>
              <a:defRPr sz="5258"/>
            </a:lvl6pPr>
            <a:lvl7pPr marL="7247272" indent="0">
              <a:buNone/>
              <a:defRPr sz="5258"/>
            </a:lvl7pPr>
            <a:lvl8pPr marL="8455153" indent="0">
              <a:buNone/>
              <a:defRPr sz="5258"/>
            </a:lvl8pPr>
            <a:lvl9pPr marL="9663030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25047582"/>
            <a:ext cx="19751040" cy="3756022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1281662"/>
            <a:ext cx="7406640" cy="273071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1281662"/>
            <a:ext cx="21671280" cy="273071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338200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23599442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13525813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3452186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23669625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13595997"/>
            <a:ext cx="9601200" cy="700087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200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717569"/>
            <a:ext cx="29626560" cy="10604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20565534"/>
            <a:ext cx="27980640" cy="6356350"/>
          </a:xfrm>
        </p:spPr>
        <p:txBody>
          <a:bodyPr anchor="t"/>
          <a:lstStyle>
            <a:lvl1pPr algn="l">
              <a:defRPr sz="105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13564670"/>
            <a:ext cx="27980640" cy="7000872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7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758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63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51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394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727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5153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30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7467612"/>
            <a:ext cx="14538960" cy="21121159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50" y="7163874"/>
            <a:ext cx="14544677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50" y="10149421"/>
            <a:ext cx="14544677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7163874"/>
            <a:ext cx="14550390" cy="2985556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78" indent="0">
              <a:buNone/>
              <a:defRPr sz="5258" b="1"/>
            </a:lvl2pPr>
            <a:lvl3pPr marL="2415758" indent="0">
              <a:buNone/>
              <a:defRPr sz="4738" b="1"/>
            </a:lvl3pPr>
            <a:lvl4pPr marL="3623637" indent="0">
              <a:buNone/>
              <a:defRPr sz="4218" b="1"/>
            </a:lvl4pPr>
            <a:lvl5pPr marL="4831517" indent="0">
              <a:buNone/>
              <a:defRPr sz="4218" b="1"/>
            </a:lvl5pPr>
            <a:lvl6pPr marL="6039394" indent="0">
              <a:buNone/>
              <a:defRPr sz="4218" b="1"/>
            </a:lvl6pPr>
            <a:lvl7pPr marL="7247272" indent="0">
              <a:buNone/>
              <a:defRPr sz="4218" b="1"/>
            </a:lvl7pPr>
            <a:lvl8pPr marL="8455153" indent="0">
              <a:buNone/>
              <a:defRPr sz="4218" b="1"/>
            </a:lvl8pPr>
            <a:lvl9pPr marL="9663030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10149421"/>
            <a:ext cx="14550390" cy="18439344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56" y="1274231"/>
            <a:ext cx="10829927" cy="542290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1274256"/>
            <a:ext cx="18402300" cy="27314530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56" y="6697156"/>
            <a:ext cx="10829927" cy="21891630"/>
          </a:xfrm>
        </p:spPr>
        <p:txBody>
          <a:bodyPr/>
          <a:lstStyle>
            <a:lvl1pPr marL="0" indent="0">
              <a:buNone/>
              <a:defRPr sz="3698"/>
            </a:lvl1pPr>
            <a:lvl2pPr marL="1207878" indent="0">
              <a:buNone/>
              <a:defRPr sz="3178"/>
            </a:lvl2pPr>
            <a:lvl3pPr marL="2415758" indent="0">
              <a:buNone/>
              <a:defRPr sz="2658"/>
            </a:lvl3pPr>
            <a:lvl4pPr marL="3623637" indent="0">
              <a:buNone/>
              <a:defRPr sz="2369"/>
            </a:lvl4pPr>
            <a:lvl5pPr marL="4831517" indent="0">
              <a:buNone/>
              <a:defRPr sz="2369"/>
            </a:lvl5pPr>
            <a:lvl6pPr marL="6039394" indent="0">
              <a:buNone/>
              <a:defRPr sz="2369"/>
            </a:lvl6pPr>
            <a:lvl7pPr marL="7247272" indent="0">
              <a:buNone/>
              <a:defRPr sz="2369"/>
            </a:lvl7pPr>
            <a:lvl8pPr marL="8455153" indent="0">
              <a:buNone/>
              <a:defRPr sz="2369"/>
            </a:lvl8pPr>
            <a:lvl9pPr marL="9663030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17" y="993"/>
          <a:ext cx="2381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17" y="993"/>
                        <a:ext cx="2381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1281644"/>
            <a:ext cx="29626560" cy="53340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7467612"/>
            <a:ext cx="29626560" cy="21121159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7/9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9662984"/>
            <a:ext cx="104241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9662984"/>
            <a:ext cx="7680960" cy="1703919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758" rtl="0" eaLnBrk="1" latinLnBrk="0" hangingPunct="1">
        <a:spcBef>
          <a:spcPct val="0"/>
        </a:spcBef>
        <a:buNone/>
        <a:defRPr sz="116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911" indent="-905911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802" indent="-754925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698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579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456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33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121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9092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973" indent="-603940" algn="l" defTabSz="2415758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7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758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63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517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394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7272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5153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3030" algn="l" defTabSz="2415758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tiff"/><Relationship Id="rId12" Type="http://schemas.openxmlformats.org/officeDocument/2006/relationships/image" Target="../media/image11.tiff"/><Relationship Id="rId13" Type="http://schemas.openxmlformats.org/officeDocument/2006/relationships/image" Target="../media/image12.png"/><Relationship Id="rId14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3" Type="http://schemas.openxmlformats.org/officeDocument/2006/relationships/image" Target="../media/image3.jpe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chart" Target="../charts/chart1.xml"/><Relationship Id="rId8" Type="http://schemas.openxmlformats.org/officeDocument/2006/relationships/image" Target="../media/image7.tiff"/><Relationship Id="rId9" Type="http://schemas.openxmlformats.org/officeDocument/2006/relationships/image" Target="../media/image8.png"/><Relationship Id="rId10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250002" y="493342"/>
            <a:ext cx="20706631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bstractions for programming line-rate switches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226" y="3646139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685" y="3646153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4204" y="3408085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39003" y="3632857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847" y="3275336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870943" y="5319317"/>
            <a:ext cx="10692579" cy="396480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870956" y="6084975"/>
            <a:ext cx="10446819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27" dirty="0">
                <a:solidFill>
                  <a:schemeClr val="tx1"/>
                </a:solidFill>
                <a:latin typeface="Gadugi"/>
              </a:rPr>
              <a:t>Programming: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Can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we implement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a </a:t>
            </a:r>
            <a:r>
              <a:rPr lang="en-US" sz="2427">
                <a:solidFill>
                  <a:schemeClr val="tx1"/>
                </a:solidFill>
                <a:latin typeface="Gadugi"/>
              </a:rPr>
              <a:t>new data=plane algorithm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?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AQM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Scheduling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Congestion control</a:t>
            </a:r>
          </a:p>
          <a:p>
            <a:pPr marL="919163" lvl="1" indent="-306388" algn="l">
              <a:buFont typeface="Arial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oad balancing</a:t>
            </a:r>
          </a:p>
          <a:p>
            <a:pPr marL="396259" indent="-396259" algn="l">
              <a:buFont typeface="Arial" panose="020B0604020202020204" pitchFamily="34" charset="0"/>
              <a:buChar char="•"/>
            </a:pPr>
            <a:r>
              <a:rPr lang="en-US" sz="2430" dirty="0">
                <a:solidFill>
                  <a:schemeClr val="tx1"/>
                </a:solidFill>
                <a:latin typeface="Gadugi"/>
              </a:rPr>
              <a:t>L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ine rate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: Highest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speed supported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by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dedicated hardware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67325" y="5159332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</a:t>
            </a:r>
            <a:r>
              <a:rPr lang="en-US" sz="2773" b="1" dirty="0"/>
              <a:t>switch data planes at </a:t>
            </a:r>
            <a:r>
              <a:rPr lang="en-US" sz="2773" b="1" dirty="0"/>
              <a:t>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06454" y="10278754"/>
            <a:ext cx="10657069" cy="6430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04951" y="10387861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The evolution of programmable switches</a:t>
            </a:r>
            <a:endParaRPr lang="en-US" sz="2773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1005125" y="25849032"/>
            <a:ext cx="10650366" cy="480564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366703" y="18118444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witching chips</a:t>
            </a:r>
            <a:endParaRPr lang="en-US" sz="2773" b="1" dirty="0"/>
          </a:p>
        </p:txBody>
      </p:sp>
      <p:sp>
        <p:nvSpPr>
          <p:cNvPr id="419" name="Rounded Rectangle 418"/>
          <p:cNvSpPr/>
          <p:nvPr/>
        </p:nvSpPr>
        <p:spPr>
          <a:xfrm>
            <a:off x="12098726" y="5319305"/>
            <a:ext cx="9384547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428341" y="5091071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acket transactions: high-level data-plane programming</a:t>
            </a:r>
            <a:endParaRPr lang="en-US" sz="2773" b="1" dirty="0"/>
          </a:p>
        </p:txBody>
      </p:sp>
      <p:sp>
        <p:nvSpPr>
          <p:cNvPr id="1076" name="Rounded Rectangle 1075"/>
          <p:cNvSpPr/>
          <p:nvPr/>
        </p:nvSpPr>
        <p:spPr>
          <a:xfrm>
            <a:off x="22707614" y="5319317"/>
            <a:ext cx="9310775" cy="452148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519869" y="5091071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able scheduling is hard</a:t>
            </a:r>
            <a:endParaRPr lang="en-US" sz="2773" b="1" dirty="0"/>
          </a:p>
        </p:txBody>
      </p:sp>
      <p:sp>
        <p:nvSpPr>
          <p:cNvPr id="1079" name="Rounded Rectangle 1078"/>
          <p:cNvSpPr/>
          <p:nvPr/>
        </p:nvSpPr>
        <p:spPr>
          <a:xfrm>
            <a:off x="22965431" y="10925360"/>
            <a:ext cx="9052944" cy="4674937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329275" y="10882285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What does the scheduler do?</a:t>
            </a:r>
            <a:endParaRPr lang="en-US" sz="2773" b="1" dirty="0">
              <a:solidFill>
                <a:srgbClr val="C00000"/>
              </a:solidFill>
              <a:latin typeface="Gadugi"/>
            </a:endParaRPr>
          </a:p>
        </p:txBody>
      </p:sp>
      <p:sp>
        <p:nvSpPr>
          <p:cNvPr id="1132" name="Rounded Rectangle 1131"/>
          <p:cNvSpPr/>
          <p:nvPr/>
        </p:nvSpPr>
        <p:spPr>
          <a:xfrm>
            <a:off x="23032366" y="16175478"/>
            <a:ext cx="8986023" cy="829613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8" name="TextBox 1137"/>
          <p:cNvSpPr txBox="1"/>
          <p:nvPr/>
        </p:nvSpPr>
        <p:spPr>
          <a:xfrm>
            <a:off x="1760340" y="1919513"/>
            <a:ext cx="2892253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/>
              <a:t>Anirudh </a:t>
            </a:r>
            <a:r>
              <a:rPr lang="en-US" sz="3600" dirty="0" err="1"/>
              <a:t>Sivaraman</a:t>
            </a:r>
            <a:r>
              <a:rPr lang="en-US" sz="3600" dirty="0"/>
              <a:t>, Mihai </a:t>
            </a:r>
            <a:r>
              <a:rPr lang="en-US" sz="3600" dirty="0" err="1"/>
              <a:t>Budiu</a:t>
            </a:r>
            <a:r>
              <a:rPr lang="en-US" sz="3600" dirty="0"/>
              <a:t>, Alvin Cheung, </a:t>
            </a:r>
            <a:r>
              <a:rPr lang="en-US" sz="3600" dirty="0" err="1"/>
              <a:t>Changhoon</a:t>
            </a:r>
            <a:r>
              <a:rPr lang="en-US" sz="3600" dirty="0"/>
              <a:t> Kim, Steve Licking, George Varghese, Hari </a:t>
            </a:r>
            <a:r>
              <a:rPr lang="en-US" sz="3600" dirty="0" err="1"/>
              <a:t>Balakrishnan</a:t>
            </a:r>
            <a:r>
              <a:rPr lang="en-US" sz="3600" dirty="0"/>
              <a:t>, Mohammad </a:t>
            </a:r>
            <a:r>
              <a:rPr lang="en-US" sz="3600" dirty="0" err="1"/>
              <a:t>Alizadeh</a:t>
            </a:r>
            <a:r>
              <a:rPr lang="en-US" sz="3600" dirty="0"/>
              <a:t>, Nick </a:t>
            </a:r>
            <a:r>
              <a:rPr lang="en-US" sz="3600" dirty="0" err="1"/>
              <a:t>McKeown</a:t>
            </a:r>
            <a:r>
              <a:rPr lang="en-US" sz="3600" dirty="0"/>
              <a:t>,</a:t>
            </a:r>
          </a:p>
          <a:p>
            <a:pPr algn="ctr"/>
            <a:r>
              <a:rPr lang="en-US" sz="3600" dirty="0"/>
              <a:t>Shang-</a:t>
            </a:r>
            <a:r>
              <a:rPr lang="en-US" sz="3600" dirty="0" err="1"/>
              <a:t>Tse</a:t>
            </a:r>
            <a:r>
              <a:rPr lang="en-US" sz="3600" dirty="0"/>
              <a:t> Chuang, </a:t>
            </a:r>
            <a:r>
              <a:rPr lang="en-US" sz="3600" dirty="0" err="1"/>
              <a:t>Sharad</a:t>
            </a:r>
            <a:r>
              <a:rPr lang="en-US" sz="3600" dirty="0"/>
              <a:t> </a:t>
            </a:r>
            <a:r>
              <a:rPr lang="en-US" sz="3600" dirty="0" err="1"/>
              <a:t>Chole</a:t>
            </a:r>
            <a:r>
              <a:rPr lang="en-US" sz="3600" dirty="0"/>
              <a:t>, </a:t>
            </a:r>
            <a:r>
              <a:rPr lang="en-US" sz="3600" dirty="0" err="1"/>
              <a:t>Anurag</a:t>
            </a:r>
            <a:r>
              <a:rPr lang="en-US" sz="3600" dirty="0"/>
              <a:t> Agrawal, </a:t>
            </a:r>
            <a:r>
              <a:rPr lang="en-US" sz="3600" dirty="0" err="1"/>
              <a:t>Suvinay</a:t>
            </a:r>
            <a:r>
              <a:rPr lang="en-US" sz="3600" dirty="0"/>
              <a:t> Subramanian, </a:t>
            </a:r>
            <a:r>
              <a:rPr lang="en-US" sz="3600" dirty="0" err="1"/>
              <a:t>Sachin</a:t>
            </a:r>
            <a:r>
              <a:rPr lang="en-US" sz="3600" dirty="0"/>
              <a:t> </a:t>
            </a:r>
            <a:r>
              <a:rPr lang="en-US" sz="3600" dirty="0" err="1"/>
              <a:t>Katti</a:t>
            </a:r>
            <a:r>
              <a:rPr lang="en-US" sz="3600" dirty="0"/>
              <a:t>, Tom </a:t>
            </a:r>
            <a:r>
              <a:rPr lang="en-US" sz="3600" dirty="0" err="1"/>
              <a:t>Edsall</a:t>
            </a:r>
            <a:endParaRPr lang="en-US" sz="3600" dirty="0"/>
          </a:p>
        </p:txBody>
      </p:sp>
      <p:graphicFrame>
        <p:nvGraphicFramePr>
          <p:cNvPr id="378" name="Chart 377"/>
          <p:cNvGraphicFramePr/>
          <p:nvPr>
            <p:extLst>
              <p:ext uri="{D42A27DB-BD31-4B8C-83A1-F6EECF244321}">
                <p14:modId xmlns:p14="http://schemas.microsoft.com/office/powerpoint/2010/main" val="858888790"/>
              </p:ext>
            </p:extLst>
          </p:nvPr>
        </p:nvGraphicFramePr>
        <p:xfrm>
          <a:off x="1034400" y="11035627"/>
          <a:ext cx="10395601" cy="4359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1" name="Rounded Rectangle 380"/>
          <p:cNvSpPr/>
          <p:nvPr/>
        </p:nvSpPr>
        <p:spPr>
          <a:xfrm>
            <a:off x="1381623" y="15199688"/>
            <a:ext cx="9606951" cy="636473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Gadugi" charset="0"/>
                <a:ea typeface="Gadugi" charset="0"/>
                <a:cs typeface="Gadugi" charset="0"/>
              </a:rPr>
              <a:t>10—100X gap between hardware, software routers</a:t>
            </a:r>
            <a:endParaRPr lang="en-US" sz="3200" dirty="0">
              <a:latin typeface="Gadugi" charset="0"/>
              <a:ea typeface="Gadugi" charset="0"/>
              <a:cs typeface="Gadugi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3094" y="20547368"/>
            <a:ext cx="9563507" cy="3476723"/>
          </a:xfrm>
          <a:prstGeom prst="rect">
            <a:avLst/>
          </a:prstGeom>
        </p:spPr>
      </p:pic>
      <p:pic>
        <p:nvPicPr>
          <p:cNvPr id="1808" name="Picture 18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689" y="19424579"/>
            <a:ext cx="1752600" cy="834853"/>
          </a:xfrm>
          <a:prstGeom prst="rect">
            <a:avLst/>
          </a:prstGeom>
        </p:spPr>
      </p:pic>
      <p:sp>
        <p:nvSpPr>
          <p:cNvPr id="1809" name="TextBox 1808"/>
          <p:cNvSpPr txBox="1"/>
          <p:nvPr/>
        </p:nvSpPr>
        <p:spPr>
          <a:xfrm>
            <a:off x="2834189" y="19424565"/>
            <a:ext cx="77040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Same performance as fixed-function chips,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u="sng" dirty="0">
                <a:latin typeface="Gadugi" charset="0"/>
                <a:ea typeface="Gadugi" charset="0"/>
                <a:cs typeface="Gadugi" charset="0"/>
              </a:rPr>
              <a:t>Some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rogrammability</a:t>
            </a:r>
            <a:r>
              <a:rPr lang="en-US" sz="2700" i="1" dirty="0">
                <a:latin typeface="Gadugi" charset="0"/>
                <a:ea typeface="Gadugi" charset="0"/>
                <a:cs typeface="Gadugi" charset="0"/>
              </a:rPr>
              <a:t> 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233697" y="6006155"/>
            <a:ext cx="9186230" cy="42540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328103" y="12068094"/>
            <a:ext cx="8850613" cy="4180589"/>
          </a:xfrm>
          <a:prstGeom prst="rect">
            <a:avLst/>
          </a:prstGeom>
        </p:spPr>
      </p:pic>
      <p:sp>
        <p:nvSpPr>
          <p:cNvPr id="2078" name="Rounded Rectangle 2077"/>
          <p:cNvSpPr/>
          <p:nvPr/>
        </p:nvSpPr>
        <p:spPr>
          <a:xfrm>
            <a:off x="12215908" y="17386568"/>
            <a:ext cx="9384547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9" name="Title 1"/>
          <p:cNvSpPr txBox="1">
            <a:spLocks/>
          </p:cNvSpPr>
          <p:nvPr/>
        </p:nvSpPr>
        <p:spPr>
          <a:xfrm>
            <a:off x="12768336" y="11213503"/>
            <a:ext cx="101756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machine model for line-rate switches</a:t>
            </a:r>
            <a:endParaRPr lang="en-US" sz="2773" b="1" dirty="0"/>
          </a:p>
        </p:txBody>
      </p:sp>
      <p:sp>
        <p:nvSpPr>
          <p:cNvPr id="2080" name="Rounded Rectangle 2079"/>
          <p:cNvSpPr/>
          <p:nvPr/>
        </p:nvSpPr>
        <p:spPr>
          <a:xfrm>
            <a:off x="12176454" y="11342503"/>
            <a:ext cx="9384547" cy="518971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81" name="Table 20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302043"/>
              </p:ext>
            </p:extLst>
          </p:nvPr>
        </p:nvGraphicFramePr>
        <p:xfrm>
          <a:off x="14915146" y="17999865"/>
          <a:ext cx="5881956" cy="4358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4031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02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6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Seravek"/>
                          <a:cs typeface="Seravek"/>
                        </a:rPr>
                        <a:t>Atom</a:t>
                      </a:r>
                      <a:endParaRPr lang="en-US" sz="2000" b="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Seravek"/>
                          <a:cs typeface="Seravek"/>
                        </a:rPr>
                        <a:t>Description</a:t>
                      </a:r>
                      <a:endParaRPr lang="en-US" sz="2000" b="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smtClean="0">
                          <a:latin typeface="Seravek"/>
                          <a:cs typeface="Seravek"/>
                        </a:rPr>
                        <a:t>Area overhead</a:t>
                      </a:r>
                      <a:endParaRPr lang="en-US" sz="2000" b="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R/W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Read or</a:t>
                      </a:r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 write state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04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RAW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Read, add, and</a:t>
                      </a:r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 write back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07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PRAW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Predicated</a:t>
                      </a:r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 version of RAW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13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Seravek"/>
                          <a:cs typeface="Seravek"/>
                        </a:rPr>
                        <a:t>IfElseRAW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2 RAWs, one each when a predicate is true or false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16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Sub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Seravek"/>
                          <a:cs typeface="Seravek"/>
                        </a:rPr>
                        <a:t>IfElseRAW</a:t>
                      </a:r>
                      <a:r>
                        <a:rPr lang="en-US" sz="1800" dirty="0" smtClean="0">
                          <a:latin typeface="Seravek"/>
                          <a:cs typeface="Seravek"/>
                        </a:rPr>
                        <a:t> with a </a:t>
                      </a:r>
                      <a:r>
                        <a:rPr lang="en-US" sz="1800" dirty="0" err="1" smtClean="0">
                          <a:latin typeface="Seravek"/>
                          <a:cs typeface="Seravek"/>
                        </a:rPr>
                        <a:t>stateful</a:t>
                      </a:r>
                      <a:r>
                        <a:rPr lang="en-US" sz="1800" dirty="0" smtClean="0">
                          <a:latin typeface="Seravek"/>
                          <a:cs typeface="Seravek"/>
                        </a:rPr>
                        <a:t> subtraction capability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24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Nested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4-way predication (nests</a:t>
                      </a:r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 2 </a:t>
                      </a:r>
                      <a:r>
                        <a:rPr lang="en-US" sz="1800" baseline="0" dirty="0" err="1" smtClean="0">
                          <a:latin typeface="Seravek"/>
                          <a:cs typeface="Seravek"/>
                        </a:rPr>
                        <a:t>IfElseRAWs</a:t>
                      </a:r>
                      <a:r>
                        <a:rPr lang="en-US" sz="1800" baseline="0" dirty="0" smtClean="0">
                          <a:latin typeface="Seravek"/>
                          <a:cs typeface="Seravek"/>
                        </a:rPr>
                        <a:t>)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58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Pairs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Seravek"/>
                          <a:cs typeface="Seravek"/>
                        </a:rPr>
                        <a:t>Update a pair of state variables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Seravek"/>
                          <a:cs typeface="Seravek"/>
                        </a:rPr>
                        <a:t>0.96%</a:t>
                      </a:r>
                      <a:endParaRPr lang="en-US" sz="18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pSp>
        <p:nvGrpSpPr>
          <p:cNvPr id="2082" name="Group 2081"/>
          <p:cNvGrpSpPr/>
          <p:nvPr/>
        </p:nvGrpSpPr>
        <p:grpSpPr>
          <a:xfrm>
            <a:off x="12861450" y="18450276"/>
            <a:ext cx="1623488" cy="3502387"/>
            <a:chOff x="10195761" y="1732002"/>
            <a:chExt cx="2011276" cy="4939383"/>
          </a:xfrm>
        </p:grpSpPr>
        <p:sp>
          <p:nvSpPr>
            <p:cNvPr id="2083" name="Rectangle 2082"/>
            <p:cNvSpPr/>
            <p:nvPr/>
          </p:nvSpPr>
          <p:spPr>
            <a:xfrm>
              <a:off x="10363200" y="1732002"/>
              <a:ext cx="1828800" cy="491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84" name="Straight Arrow Connector 2083"/>
            <p:cNvCxnSpPr/>
            <p:nvPr/>
          </p:nvCxnSpPr>
          <p:spPr>
            <a:xfrm>
              <a:off x="11239500" y="3048000"/>
              <a:ext cx="0" cy="228600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5" name="TextBox 2084"/>
            <p:cNvSpPr txBox="1"/>
            <p:nvPr/>
          </p:nvSpPr>
          <p:spPr>
            <a:xfrm>
              <a:off x="10258475" y="2113002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Lea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  <a:endParaRPr lang="en-US" sz="2400" dirty="0">
                <a:latin typeface="Gadugi" panose="020B0502040204020203" pitchFamily="34" charset="0"/>
              </a:endParaRPr>
            </a:p>
          </p:txBody>
        </p:sp>
        <p:sp>
          <p:nvSpPr>
            <p:cNvPr id="2086" name="TextBox 2085"/>
            <p:cNvSpPr txBox="1"/>
            <p:nvPr/>
          </p:nvSpPr>
          <p:spPr>
            <a:xfrm>
              <a:off x="10195761" y="5499438"/>
              <a:ext cx="1948562" cy="11719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Most</a:t>
              </a:r>
            </a:p>
            <a:p>
              <a:pPr algn="ctr"/>
              <a:r>
                <a:rPr lang="en-US" sz="2400" dirty="0">
                  <a:latin typeface="Gadugi" panose="020B0502040204020203" pitchFamily="34" charset="0"/>
                </a:rPr>
                <a:t>Expressive</a:t>
              </a:r>
              <a:endParaRPr lang="en-US" sz="2400" dirty="0">
                <a:latin typeface="Gadugi" panose="020B0502040204020203" pitchFamily="34" charset="0"/>
              </a:endParaRPr>
            </a:p>
          </p:txBody>
        </p:sp>
      </p:grpSp>
      <p:graphicFrame>
        <p:nvGraphicFramePr>
          <p:cNvPr id="2088" name="Table 20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999553"/>
              </p:ext>
            </p:extLst>
          </p:nvPr>
        </p:nvGraphicFramePr>
        <p:xfrm>
          <a:off x="12629170" y="24487538"/>
          <a:ext cx="8696364" cy="602433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610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06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628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94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29076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Algorithm</a:t>
                      </a:r>
                      <a:endParaRPr lang="en-US" sz="2400" b="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LOC</a:t>
                      </a:r>
                      <a:endParaRPr lang="en-US" sz="2400" b="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Stages</a:t>
                      </a:r>
                    </a:p>
                    <a:p>
                      <a:pPr algn="ctr"/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(max 30)</a:t>
                      </a:r>
                      <a:endParaRPr lang="en-US" sz="2400" b="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Max.</a:t>
                      </a:r>
                      <a:r>
                        <a:rPr lang="en-US" sz="2400" b="0" baseline="0" dirty="0" smtClean="0">
                          <a:latin typeface="Seravek"/>
                          <a:cs typeface="Seravek"/>
                        </a:rPr>
                        <a:t> atoms/stag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baseline="0" dirty="0" smtClean="0">
                          <a:latin typeface="Seravek"/>
                          <a:cs typeface="Seravek"/>
                        </a:rPr>
                        <a:t> (max 10)</a:t>
                      </a:r>
                      <a:endParaRPr lang="en-US" sz="2400" b="0" dirty="0" smtClean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smtClean="0">
                          <a:latin typeface="Seravek"/>
                          <a:cs typeface="Seravek"/>
                        </a:rPr>
                        <a:t>Min.</a:t>
                      </a:r>
                      <a:r>
                        <a:rPr lang="en-US" sz="2400" b="0" baseline="0" dirty="0" smtClean="0">
                          <a:latin typeface="Seravek"/>
                          <a:cs typeface="Seravek"/>
                        </a:rPr>
                        <a:t> Atom Required</a:t>
                      </a:r>
                      <a:endParaRPr lang="en-US" sz="2400" b="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Bloom filter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29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4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R/W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Heavy hitter detection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5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10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9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RAW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Seravek"/>
                          <a:cs typeface="Seravek"/>
                        </a:rPr>
                        <a:t>Flowlet</a:t>
                      </a:r>
                      <a:r>
                        <a:rPr lang="en-US" sz="2200" dirty="0" smtClean="0">
                          <a:latin typeface="Seravek"/>
                          <a:cs typeface="Seravek"/>
                        </a:rPr>
                        <a:t> switching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7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PRAW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Sampled </a:t>
                      </a:r>
                      <a:r>
                        <a:rPr lang="en-US" sz="2200" dirty="0" err="1" smtClean="0">
                          <a:latin typeface="Seravek"/>
                          <a:cs typeface="Seravek"/>
                        </a:rPr>
                        <a:t>NetFlow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18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4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2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Seravek"/>
                          <a:cs typeface="Seravek"/>
                        </a:rPr>
                        <a:t>IfElseRAW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HULL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26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7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1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Sub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2741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Adaptive Virtual Queue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6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7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Nested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350"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CONGA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2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4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2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smtClean="0">
                          <a:latin typeface="Seravek"/>
                          <a:cs typeface="Seravek"/>
                        </a:rPr>
                        <a:t>Pairs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2200" dirty="0" err="1" smtClean="0">
                          <a:latin typeface="Seravek"/>
                          <a:cs typeface="Seravek"/>
                        </a:rPr>
                        <a:t>CoDel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57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15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>
                          <a:latin typeface="Seravek"/>
                          <a:cs typeface="Seravek"/>
                        </a:rPr>
                        <a:t>3</a:t>
                      </a:r>
                      <a:endParaRPr lang="en-US" sz="2200" dirty="0"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>
                          <a:solidFill>
                            <a:srgbClr val="FF0000"/>
                          </a:solidFill>
                          <a:latin typeface="Seravek"/>
                          <a:cs typeface="Seravek"/>
                        </a:rPr>
                        <a:t>Doesn’t map</a:t>
                      </a:r>
                      <a:endParaRPr lang="en-US" sz="2200" b="1" dirty="0">
                        <a:solidFill>
                          <a:srgbClr val="FF0000"/>
                        </a:solidFill>
                        <a:latin typeface="Seravek"/>
                        <a:cs typeface="Seravek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2089" name="Title 1"/>
          <p:cNvSpPr txBox="1">
            <a:spLocks/>
          </p:cNvSpPr>
          <p:nvPr/>
        </p:nvSpPr>
        <p:spPr>
          <a:xfrm>
            <a:off x="12776814" y="17024523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 family </a:t>
            </a:r>
            <a:r>
              <a:rPr lang="en-US" sz="2773" b="1"/>
              <a:t>of atoms</a:t>
            </a:r>
            <a:endParaRPr lang="en-US" sz="2773" b="1" dirty="0"/>
          </a:p>
        </p:txBody>
      </p:sp>
      <p:sp>
        <p:nvSpPr>
          <p:cNvPr id="2090" name="Rounded Rectangle 2089"/>
          <p:cNvSpPr/>
          <p:nvPr/>
        </p:nvSpPr>
        <p:spPr>
          <a:xfrm>
            <a:off x="12233701" y="23511947"/>
            <a:ext cx="9384547" cy="7349053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1" name="Title 1"/>
          <p:cNvSpPr txBox="1">
            <a:spLocks/>
          </p:cNvSpPr>
          <p:nvPr/>
        </p:nvSpPr>
        <p:spPr>
          <a:xfrm>
            <a:off x="13007247" y="23472054"/>
            <a:ext cx="3918727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Compilation results</a:t>
            </a:r>
            <a:endParaRPr lang="en-US" sz="2773" b="1" dirty="0"/>
          </a:p>
        </p:txBody>
      </p:sp>
      <p:sp>
        <p:nvSpPr>
          <p:cNvPr id="2092" name="Rounded Rectangle 2091"/>
          <p:cNvSpPr/>
          <p:nvPr/>
        </p:nvSpPr>
        <p:spPr>
          <a:xfrm>
            <a:off x="860491" y="18270830"/>
            <a:ext cx="10795000" cy="621044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3" name="Title 1"/>
          <p:cNvSpPr txBox="1">
            <a:spLocks/>
          </p:cNvSpPr>
          <p:nvPr/>
        </p:nvSpPr>
        <p:spPr>
          <a:xfrm>
            <a:off x="1669826" y="25976156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Abstractions for line-rate programming</a:t>
            </a:r>
            <a:endParaRPr lang="en-US" sz="2773" b="1" dirty="0"/>
          </a:p>
        </p:txBody>
      </p:sp>
      <p:sp>
        <p:nvSpPr>
          <p:cNvPr id="2094" name="TextBox 2093"/>
          <p:cNvSpPr txBox="1"/>
          <p:nvPr/>
        </p:nvSpPr>
        <p:spPr>
          <a:xfrm>
            <a:off x="1379899" y="27231196"/>
            <a:ext cx="831615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acket transaction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 err="1">
                <a:latin typeface="Gadugi" charset="0"/>
                <a:ea typeface="Gadugi" charset="0"/>
                <a:cs typeface="Gadugi" charset="0"/>
              </a:rPr>
              <a:t>Stateful</a:t>
            </a: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C-like syntax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Automatically compile to a pipeline</a:t>
            </a:r>
          </a:p>
          <a:p>
            <a:pPr marL="457223" indent="-457223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Push-In  First-Out queue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Expresses many scheduling algorithms</a:t>
            </a:r>
          </a:p>
          <a:p>
            <a:pPr marL="700088" lvl="1" indent="-263525">
              <a:buFont typeface="Arial" charset="0"/>
              <a:buChar char="•"/>
            </a:pPr>
            <a:r>
              <a:rPr lang="en-US" sz="2700" dirty="0">
                <a:latin typeface="Gadugi" charset="0"/>
                <a:ea typeface="Gadugi" charset="0"/>
                <a:cs typeface="Gadugi" charset="0"/>
              </a:rPr>
              <a:t>Modest area overhead</a:t>
            </a:r>
            <a:endParaRPr lang="en-US" sz="2700" dirty="0">
              <a:latin typeface="Gadugi" charset="0"/>
              <a:ea typeface="Gadugi" charset="0"/>
              <a:cs typeface="Gadugi" charset="0"/>
            </a:endParaRPr>
          </a:p>
        </p:txBody>
      </p:sp>
      <p:sp>
        <p:nvSpPr>
          <p:cNvPr id="2095" name="Content Placeholder 2"/>
          <p:cNvSpPr txBox="1">
            <a:spLocks/>
          </p:cNvSpPr>
          <p:nvPr/>
        </p:nvSpPr>
        <p:spPr>
          <a:xfrm>
            <a:off x="22707600" y="6124783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Decades of scheduling algorithms, but no consensus on</a:t>
            </a:r>
          </a:p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abstractions for scheduling. In contrast to: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Parse graphs for parsing</a:t>
            </a:r>
          </a:p>
          <a:p>
            <a:pPr lvl="1"/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Match-action tables for forwarding</a:t>
            </a:r>
          </a:p>
          <a:p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The scheduler has very tight timing requirements</a:t>
            </a:r>
          </a:p>
        </p:txBody>
      </p:sp>
      <p:sp>
        <p:nvSpPr>
          <p:cNvPr id="2096" name="Rounded Rectangle 2095"/>
          <p:cNvSpPr/>
          <p:nvPr/>
        </p:nvSpPr>
        <p:spPr>
          <a:xfrm>
            <a:off x="22867741" y="8473752"/>
            <a:ext cx="9052945" cy="1104900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Seravek"/>
                <a:cs typeface="Seravek"/>
              </a:rPr>
              <a:t>Need an expressive </a:t>
            </a:r>
            <a:r>
              <a:rPr lang="en-US" sz="3200">
                <a:latin typeface="Seravek"/>
                <a:cs typeface="Seravek"/>
              </a:rPr>
              <a:t>abstraction running </a:t>
            </a:r>
            <a:r>
              <a:rPr lang="en-US" sz="3200" dirty="0">
                <a:latin typeface="Seravek"/>
                <a:cs typeface="Seravek"/>
              </a:rPr>
              <a:t>at line rate</a:t>
            </a:r>
            <a:endParaRPr lang="en-US" sz="3200" dirty="0">
              <a:latin typeface="Seravek"/>
              <a:cs typeface="Seravek"/>
            </a:endParaRPr>
          </a:p>
        </p:txBody>
      </p:sp>
      <p:sp>
        <p:nvSpPr>
          <p:cNvPr id="2099" name="Content Placeholder 2"/>
          <p:cNvSpPr txBox="1">
            <a:spLocks/>
          </p:cNvSpPr>
          <p:nvPr/>
        </p:nvSpPr>
        <p:spPr>
          <a:xfrm>
            <a:off x="23172527" y="12074169"/>
            <a:ext cx="8701326" cy="3254982"/>
          </a:xfrm>
          <a:prstGeom prst="rect">
            <a:avLst/>
          </a:prstGeom>
        </p:spPr>
        <p:txBody>
          <a:bodyPr>
            <a:normAutofit/>
          </a:bodyPr>
          <a:lstStyle>
            <a:lvl1pPr marL="905865" indent="-905865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4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2704" indent="-754887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3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954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3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27367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35184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643001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50820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5863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266459" indent="-603910" algn="l" defTabSz="241563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2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t decides in what </a:t>
            </a:r>
            <a:r>
              <a:rPr lang="en-US" sz="2430" b="1" dirty="0">
                <a:solidFill>
                  <a:srgbClr val="901028"/>
                </a:solidFill>
                <a:latin typeface="Gadugi" charset="0"/>
                <a:ea typeface="Gadugi" charset="0"/>
                <a:cs typeface="Gadugi" charset="0"/>
              </a:rPr>
              <a:t>order</a:t>
            </a: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are packets sent e.g., FCFS, priorities,</a:t>
            </a:r>
          </a:p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weighted fair-queueing</a:t>
            </a:r>
            <a:endParaRPr lang="en-US" sz="243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430" b="1" dirty="0">
                <a:solidFill>
                  <a:srgbClr val="3366FF"/>
                </a:solidFill>
                <a:latin typeface="Gadugi" charset="0"/>
                <a:ea typeface="Gadugi" charset="0"/>
                <a:cs typeface="Gadugi" charset="0"/>
              </a:rPr>
              <a:t>Key observation</a:t>
            </a:r>
          </a:p>
          <a:p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n many algorithms, the order can be determined</a:t>
            </a:r>
          </a:p>
          <a:p>
            <a:pPr marL="0" indent="0">
              <a:buNone/>
            </a:pPr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           before </a:t>
            </a:r>
            <a:r>
              <a:rPr lang="en-US" sz="2430" dirty="0" err="1">
                <a:latin typeface="Gadugi" charset="0"/>
                <a:ea typeface="Gadugi" charset="0"/>
                <a:cs typeface="Gadugi" charset="0"/>
              </a:rPr>
              <a:t>enqueue</a:t>
            </a:r>
            <a:endParaRPr lang="en-US" sz="2430" dirty="0">
              <a:latin typeface="Gadugi" charset="0"/>
              <a:ea typeface="Gadugi" charset="0"/>
              <a:cs typeface="Gadugi" charset="0"/>
            </a:endParaRPr>
          </a:p>
          <a:p>
            <a:r>
              <a:rPr lang="en-US" sz="2430" dirty="0">
                <a:latin typeface="Gadugi" charset="0"/>
                <a:ea typeface="Gadugi" charset="0"/>
                <a:cs typeface="Gadugi" charset="0"/>
              </a:rPr>
              <a:t>i.e., relative order of buffered packets does not change</a:t>
            </a:r>
          </a:p>
        </p:txBody>
      </p:sp>
      <p:sp>
        <p:nvSpPr>
          <p:cNvPr id="2102" name="Title 1"/>
          <p:cNvSpPr txBox="1">
            <a:spLocks/>
          </p:cNvSpPr>
          <p:nvPr/>
        </p:nvSpPr>
        <p:spPr>
          <a:xfrm>
            <a:off x="23383971" y="16270926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The Push-In First-Out Queue</a:t>
            </a:r>
            <a:endParaRPr lang="en-US" sz="2773" b="1" dirty="0">
              <a:solidFill>
                <a:srgbClr val="C00000"/>
              </a:solidFill>
              <a:latin typeface="Gadugi"/>
            </a:endParaRPr>
          </a:p>
        </p:txBody>
      </p:sp>
      <p:grpSp>
        <p:nvGrpSpPr>
          <p:cNvPr id="2103" name="Group 2102"/>
          <p:cNvGrpSpPr/>
          <p:nvPr/>
        </p:nvGrpSpPr>
        <p:grpSpPr>
          <a:xfrm>
            <a:off x="23635751" y="17118691"/>
            <a:ext cx="3098800" cy="3365500"/>
            <a:chOff x="2235200" y="2667000"/>
            <a:chExt cx="3098800" cy="3365500"/>
          </a:xfrm>
        </p:grpSpPr>
        <p:sp>
          <p:nvSpPr>
            <p:cNvPr id="2104" name="Rectangle 2103"/>
            <p:cNvSpPr/>
            <p:nvPr/>
          </p:nvSpPr>
          <p:spPr>
            <a:xfrm>
              <a:off x="2235200" y="3238500"/>
              <a:ext cx="3048000" cy="2794000"/>
            </a:xfrm>
            <a:prstGeom prst="rect">
              <a:avLst/>
            </a:prstGeom>
            <a:solidFill>
              <a:schemeClr val="accent4">
                <a:lumMod val="40000"/>
                <a:lumOff val="60000"/>
                <a:alpha val="7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5" name="TextBox 2104"/>
            <p:cNvSpPr txBox="1"/>
            <p:nvPr/>
          </p:nvSpPr>
          <p:spPr>
            <a:xfrm>
              <a:off x="2286000" y="26670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Seravek"/>
                  <a:cs typeface="Seravek"/>
                </a:rPr>
                <a:t>Rank Computation</a:t>
              </a:r>
            </a:p>
          </p:txBody>
        </p:sp>
      </p:grpSp>
      <p:sp>
        <p:nvSpPr>
          <p:cNvPr id="2106" name="Right Arrow 2105"/>
          <p:cNvSpPr/>
          <p:nvPr/>
        </p:nvSpPr>
        <p:spPr>
          <a:xfrm>
            <a:off x="26912351" y="18799556"/>
            <a:ext cx="723900" cy="342900"/>
          </a:xfrm>
          <a:prstGeom prst="rightArrow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7" name="Group 2106"/>
          <p:cNvGrpSpPr/>
          <p:nvPr/>
        </p:nvGrpSpPr>
        <p:grpSpPr>
          <a:xfrm>
            <a:off x="27797725" y="17118704"/>
            <a:ext cx="3204039" cy="3311111"/>
            <a:chOff x="6397161" y="2548235"/>
            <a:chExt cx="3204039" cy="3311111"/>
          </a:xfrm>
        </p:grpSpPr>
        <p:grpSp>
          <p:nvGrpSpPr>
            <p:cNvPr id="2108" name="Group 2107"/>
            <p:cNvGrpSpPr/>
            <p:nvPr/>
          </p:nvGrpSpPr>
          <p:grpSpPr>
            <a:xfrm>
              <a:off x="6397161" y="2548235"/>
              <a:ext cx="3204039" cy="3311111"/>
              <a:chOff x="6397161" y="2548235"/>
              <a:chExt cx="3204039" cy="3311111"/>
            </a:xfrm>
          </p:grpSpPr>
          <p:grpSp>
            <p:nvGrpSpPr>
              <p:cNvPr id="2110" name="Group 2109"/>
              <p:cNvGrpSpPr/>
              <p:nvPr/>
            </p:nvGrpSpPr>
            <p:grpSpPr>
              <a:xfrm>
                <a:off x="6397161" y="3124200"/>
                <a:ext cx="3204039" cy="2735146"/>
                <a:chOff x="6431622" y="3360854"/>
                <a:chExt cx="3204039" cy="2735146"/>
              </a:xfrm>
            </p:grpSpPr>
            <p:sp>
              <p:nvSpPr>
                <p:cNvPr id="2112" name="Rectangle 2111"/>
                <p:cNvSpPr/>
                <p:nvPr/>
              </p:nvSpPr>
              <p:spPr>
                <a:xfrm>
                  <a:off x="6431622" y="3360854"/>
                  <a:ext cx="3204039" cy="2735146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113" name="Group 2112"/>
                <p:cNvGrpSpPr/>
                <p:nvPr/>
              </p:nvGrpSpPr>
              <p:grpSpPr>
                <a:xfrm>
                  <a:off x="6892503" y="4038600"/>
                  <a:ext cx="2175291" cy="1228293"/>
                  <a:chOff x="3906054" y="6114996"/>
                  <a:chExt cx="1050221" cy="563990"/>
                </a:xfrm>
              </p:grpSpPr>
              <p:grpSp>
                <p:nvGrpSpPr>
                  <p:cNvPr id="2114" name="Group 2113"/>
                  <p:cNvGrpSpPr/>
                  <p:nvPr/>
                </p:nvGrpSpPr>
                <p:grpSpPr>
                  <a:xfrm>
                    <a:off x="3906054" y="6114996"/>
                    <a:ext cx="1050221" cy="563990"/>
                    <a:chOff x="3906054" y="6114996"/>
                    <a:chExt cx="1050221" cy="563990"/>
                  </a:xfrm>
                </p:grpSpPr>
                <p:grpSp>
                  <p:nvGrpSpPr>
                    <p:cNvPr id="2116" name="Group 2115"/>
                    <p:cNvGrpSpPr/>
                    <p:nvPr/>
                  </p:nvGrpSpPr>
                  <p:grpSpPr>
                    <a:xfrm>
                      <a:off x="4000499" y="6358104"/>
                      <a:ext cx="955776" cy="320882"/>
                      <a:chOff x="1594855" y="898558"/>
                      <a:chExt cx="832256" cy="317821"/>
                    </a:xfrm>
                  </p:grpSpPr>
                  <p:cxnSp>
                    <p:nvCxnSpPr>
                      <p:cNvPr id="2122" name="Straight Connector 2121"/>
                      <p:cNvCxnSpPr/>
                      <p:nvPr/>
                    </p:nvCxnSpPr>
                    <p:spPr>
                      <a:xfrm>
                        <a:off x="1594855" y="89855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3" name="Straight Connector 2122"/>
                      <p:cNvCxnSpPr/>
                      <p:nvPr/>
                    </p:nvCxnSpPr>
                    <p:spPr>
                      <a:xfrm>
                        <a:off x="1594855" y="1216378"/>
                        <a:ext cx="832256" cy="0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  <p:cxnSp>
                    <p:nvCxnSpPr>
                      <p:cNvPr id="2124" name="Straight Connector 2123"/>
                      <p:cNvCxnSpPr/>
                      <p:nvPr/>
                    </p:nvCxnSpPr>
                    <p:spPr>
                      <a:xfrm flipV="1">
                        <a:off x="2427111" y="903111"/>
                        <a:ext cx="0" cy="313268"/>
                      </a:xfrm>
                      <a:prstGeom prst="line">
                        <a:avLst/>
                      </a:prstGeom>
                      <a:noFill/>
                      <a:ln w="25400" cap="flat" cmpd="sng" algn="ctr">
                        <a:solidFill>
                          <a:sysClr val="windowText" lastClr="000000"/>
                        </a:solidFill>
                        <a:prstDash val="solid"/>
                      </a:ln>
                      <a:effectLst/>
                    </p:spPr>
                  </p:cxnSp>
                </p:grpSp>
                <p:sp>
                  <p:nvSpPr>
                    <p:cNvPr id="2117" name="Rectangle 2116"/>
                    <p:cNvSpPr/>
                    <p:nvPr/>
                  </p:nvSpPr>
                  <p:spPr>
                    <a:xfrm>
                      <a:off x="4774463" y="6375591"/>
                      <a:ext cx="163401" cy="288746"/>
                    </a:xfrm>
                    <a:prstGeom prst="rect">
                      <a:avLst/>
                    </a:prstGeom>
                    <a:solidFill>
                      <a:srgbClr val="F79646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Seravek"/>
                          <a:cs typeface="Seravek"/>
                        </a:rPr>
                        <a:t>2</a:t>
                      </a:r>
                      <a:endParaRPr lang="en-US" sz="2000" kern="0" dirty="0">
                        <a:latin typeface="Seravek"/>
                        <a:cs typeface="Seravek"/>
                      </a:endParaRPr>
                    </a:p>
                  </p:txBody>
                </p:sp>
                <p:sp>
                  <p:nvSpPr>
                    <p:cNvPr id="2118" name="Rectangle 2117"/>
                    <p:cNvSpPr/>
                    <p:nvPr/>
                  </p:nvSpPr>
                  <p:spPr>
                    <a:xfrm>
                      <a:off x="4246332" y="6378211"/>
                      <a:ext cx="163401" cy="288746"/>
                    </a:xfrm>
                    <a:prstGeom prst="rect">
                      <a:avLst/>
                    </a:prstGeom>
                    <a:solidFill>
                      <a:srgbClr val="9BBB59">
                        <a:lumMod val="60000"/>
                        <a:lumOff val="40000"/>
                      </a:srgbClr>
                    </a:solidFill>
                    <a:ln w="9525" cap="flat" cmpd="sng" algn="ctr">
                      <a:solidFill>
                        <a:sysClr val="windowText" lastClr="000000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latin typeface="Seravek"/>
                          <a:cs typeface="Seravek"/>
                        </a:rPr>
                        <a:t>9</a:t>
                      </a:r>
                      <a:endParaRPr lang="en-US" sz="2000" kern="0" dirty="0">
                        <a:latin typeface="Seravek"/>
                        <a:cs typeface="Seravek"/>
                      </a:endParaRPr>
                    </a:p>
                  </p:txBody>
                </p:sp>
                <p:sp>
                  <p:nvSpPr>
                    <p:cNvPr id="2119" name="Rectangle 2118"/>
                    <p:cNvSpPr/>
                    <p:nvPr/>
                  </p:nvSpPr>
                  <p:spPr>
                    <a:xfrm>
                      <a:off x="4424539" y="6376469"/>
                      <a:ext cx="163401" cy="288746"/>
                    </a:xfrm>
                    <a:prstGeom prst="rect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 defTabSz="457223">
                        <a:defRPr/>
                      </a:pPr>
                      <a:r>
                        <a:rPr lang="en-US" sz="2000" kern="0" dirty="0">
                          <a:solidFill>
                            <a:schemeClr val="tx1"/>
                          </a:solidFill>
                          <a:latin typeface="Seravek"/>
                          <a:cs typeface="Seravek"/>
                        </a:rPr>
                        <a:t>8</a:t>
                      </a:r>
                      <a:endParaRPr lang="en-US" sz="2000" kern="0" dirty="0">
                        <a:solidFill>
                          <a:schemeClr val="tx1"/>
                        </a:solidFill>
                        <a:latin typeface="Seravek"/>
                        <a:cs typeface="Seravek"/>
                      </a:endParaRPr>
                    </a:p>
                  </p:txBody>
                </p:sp>
                <p:cxnSp>
                  <p:nvCxnSpPr>
                    <p:cNvPr id="2120" name="Straight Arrow Connector 2119"/>
                    <p:cNvCxnSpPr/>
                    <p:nvPr/>
                  </p:nvCxnSpPr>
                  <p:spPr>
                    <a:xfrm flipH="1">
                      <a:off x="3906054" y="6122857"/>
                      <a:ext cx="515025" cy="0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tailEnd type="none"/>
                    </a:ln>
                    <a:effectLst/>
                  </p:spPr>
                </p:cxnSp>
                <p:cxnSp>
                  <p:nvCxnSpPr>
                    <p:cNvPr id="2121" name="Straight Arrow Connector 2120"/>
                    <p:cNvCxnSpPr/>
                    <p:nvPr/>
                  </p:nvCxnSpPr>
                  <p:spPr>
                    <a:xfrm flipV="1">
                      <a:off x="4414905" y="6114996"/>
                      <a:ext cx="0" cy="253677"/>
                    </a:xfrm>
                    <a:prstGeom prst="straightConnector1">
                      <a:avLst/>
                    </a:prstGeom>
                    <a:noFill/>
                    <a:ln w="25400" cap="flat" cmpd="sng" algn="ctr">
                      <a:solidFill>
                        <a:schemeClr val="tx1"/>
                      </a:solidFill>
                      <a:prstDash val="solid"/>
                      <a:headEnd type="triangle" w="lg" len="lg"/>
                      <a:tailEnd type="none"/>
                    </a:ln>
                    <a:effectLst/>
                  </p:spPr>
                </p:cxnSp>
              </p:grpSp>
              <p:sp>
                <p:nvSpPr>
                  <p:cNvPr id="2115" name="Rectangle 2114"/>
                  <p:cNvSpPr/>
                  <p:nvPr/>
                </p:nvSpPr>
                <p:spPr>
                  <a:xfrm>
                    <a:off x="4600575" y="6378575"/>
                    <a:ext cx="163401" cy="288746"/>
                  </a:xfrm>
                  <a:prstGeom prst="rect">
                    <a:avLst/>
                  </a:prstGeom>
                  <a:solidFill>
                    <a:srgbClr val="FF6666"/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457223">
                      <a:defRPr/>
                    </a:pPr>
                    <a:r>
                      <a:rPr lang="en-US" sz="2000" kern="0" dirty="0">
                        <a:latin typeface="Seravek"/>
                        <a:cs typeface="Seravek"/>
                      </a:rPr>
                      <a:t>5</a:t>
                    </a:r>
                    <a:endParaRPr lang="en-US" sz="2000" kern="0" dirty="0">
                      <a:latin typeface="Seravek"/>
                      <a:cs typeface="Seravek"/>
                    </a:endParaRPr>
                  </a:p>
                </p:txBody>
              </p:sp>
            </p:grpSp>
          </p:grpSp>
          <p:sp>
            <p:nvSpPr>
              <p:cNvPr id="2111" name="TextBox 2110"/>
              <p:cNvSpPr txBox="1"/>
              <p:nvPr/>
            </p:nvSpPr>
            <p:spPr>
              <a:xfrm>
                <a:off x="6438900" y="2548235"/>
                <a:ext cx="3048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latin typeface="Seravek"/>
                    <a:cs typeface="Seravek"/>
                  </a:rPr>
                  <a:t>PIFO Scheduler</a:t>
                </a:r>
              </a:p>
            </p:txBody>
          </p:sp>
        </p:grpSp>
        <p:cxnSp>
          <p:nvCxnSpPr>
            <p:cNvPr id="2109" name="Straight Arrow Connector 2108"/>
            <p:cNvCxnSpPr/>
            <p:nvPr/>
          </p:nvCxnSpPr>
          <p:spPr>
            <a:xfrm>
              <a:off x="9029700" y="4686300"/>
              <a:ext cx="30480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tailEnd type="arrow" w="lg" len="lg"/>
            </a:ln>
            <a:effectLst/>
          </p:spPr>
        </p:cxnSp>
      </p:grpSp>
      <p:sp>
        <p:nvSpPr>
          <p:cNvPr id="2125" name="TextBox 2124"/>
          <p:cNvSpPr txBox="1"/>
          <p:nvPr/>
        </p:nvSpPr>
        <p:spPr>
          <a:xfrm>
            <a:off x="24029451" y="18228057"/>
            <a:ext cx="23622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Seravek"/>
                <a:cs typeface="Seravek"/>
              </a:rPr>
              <a:t>f = flow(</a:t>
            </a:r>
            <a:r>
              <a:rPr lang="en-US" sz="2000" dirty="0" err="1">
                <a:latin typeface="Seravek"/>
                <a:cs typeface="Seravek"/>
              </a:rPr>
              <a:t>pkt</a:t>
            </a:r>
            <a:r>
              <a:rPr lang="en-US" sz="2000" dirty="0">
                <a:latin typeface="Seravek"/>
                <a:cs typeface="Seravek"/>
              </a:rPr>
              <a:t>) </a:t>
            </a:r>
          </a:p>
          <a:p>
            <a:r>
              <a:rPr lang="en-US" sz="2000" dirty="0" err="1">
                <a:latin typeface="Seravek"/>
                <a:cs typeface="Seravek"/>
              </a:rPr>
              <a:t>p.tmp</a:t>
            </a:r>
            <a:r>
              <a:rPr lang="en-US" sz="2000" dirty="0">
                <a:latin typeface="Seravek"/>
                <a:cs typeface="Seravek"/>
              </a:rPr>
              <a:t> = T[f] + </a:t>
            </a:r>
            <a:r>
              <a:rPr lang="en-US" sz="2000" dirty="0" err="1">
                <a:latin typeface="Seravek"/>
                <a:cs typeface="Seravek"/>
              </a:rPr>
              <a:t>p.len</a:t>
            </a:r>
            <a:endParaRPr lang="en-US" sz="2000" dirty="0">
              <a:latin typeface="Seravek"/>
              <a:cs typeface="Seravek"/>
            </a:endParaRPr>
          </a:p>
          <a:p>
            <a:r>
              <a:rPr lang="is-IS" sz="2000" dirty="0">
                <a:latin typeface="Seravek"/>
                <a:cs typeface="Seravek"/>
              </a:rPr>
              <a:t>…</a:t>
            </a:r>
          </a:p>
          <a:p>
            <a:r>
              <a:rPr lang="is-IS" sz="2000" dirty="0">
                <a:latin typeface="Seravek"/>
                <a:cs typeface="Seravek"/>
              </a:rPr>
              <a:t>...</a:t>
            </a:r>
          </a:p>
          <a:p>
            <a:r>
              <a:rPr lang="is-IS" sz="2000" b="1" dirty="0">
                <a:latin typeface="Seravek"/>
                <a:cs typeface="Seravek"/>
              </a:rPr>
              <a:t>p.rank = 2 * p.tmp </a:t>
            </a:r>
          </a:p>
        </p:txBody>
      </p:sp>
      <p:grpSp>
        <p:nvGrpSpPr>
          <p:cNvPr id="2126" name="Group 2125"/>
          <p:cNvGrpSpPr/>
          <p:nvPr/>
        </p:nvGrpSpPr>
        <p:grpSpPr>
          <a:xfrm>
            <a:off x="23764330" y="21012986"/>
            <a:ext cx="7277100" cy="466130"/>
            <a:chOff x="2209800" y="5901035"/>
            <a:chExt cx="7277100" cy="466130"/>
          </a:xfrm>
        </p:grpSpPr>
        <p:sp>
          <p:nvSpPr>
            <p:cNvPr id="2127" name="TextBox 2126"/>
            <p:cNvSpPr txBox="1"/>
            <p:nvPr/>
          </p:nvSpPr>
          <p:spPr>
            <a:xfrm>
              <a:off x="2209800" y="5905500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Seravek"/>
                  <a:cs typeface="Seravek"/>
                </a:rPr>
                <a:t>(programmable)</a:t>
              </a:r>
            </a:p>
          </p:txBody>
        </p:sp>
        <p:sp>
          <p:nvSpPr>
            <p:cNvPr id="2128" name="TextBox 2127"/>
            <p:cNvSpPr txBox="1"/>
            <p:nvPr/>
          </p:nvSpPr>
          <p:spPr>
            <a:xfrm>
              <a:off x="6438900" y="5901035"/>
              <a:ext cx="3048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Seravek"/>
                  <a:cs typeface="Seravek"/>
                </a:rPr>
                <a:t>(fixed logic)</a:t>
              </a:r>
            </a:p>
          </p:txBody>
        </p:sp>
      </p:grpSp>
      <p:sp>
        <p:nvSpPr>
          <p:cNvPr id="2130" name="Rounded Rectangle 2129"/>
          <p:cNvSpPr/>
          <p:nvPr/>
        </p:nvSpPr>
        <p:spPr>
          <a:xfrm>
            <a:off x="23383984" y="21624700"/>
            <a:ext cx="8497883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Seravek"/>
                <a:cs typeface="Seravek"/>
              </a:rPr>
              <a:t>Rank computation is a packet transaction</a:t>
            </a:r>
          </a:p>
          <a:p>
            <a:pPr algn="ctr"/>
            <a:r>
              <a:rPr lang="en-US" sz="3600" dirty="0">
                <a:latin typeface="Seravek"/>
                <a:cs typeface="Seravek"/>
              </a:rPr>
              <a:t>(e.g., WFQ, strict priorities, shaping)</a:t>
            </a:r>
            <a:endParaRPr lang="en-US" sz="3600" dirty="0">
              <a:latin typeface="Seravek"/>
              <a:cs typeface="Seravek"/>
            </a:endParaRPr>
          </a:p>
        </p:txBody>
      </p:sp>
      <p:sp>
        <p:nvSpPr>
          <p:cNvPr id="2131" name="Rounded Rectangle 2130"/>
          <p:cNvSpPr/>
          <p:nvPr/>
        </p:nvSpPr>
        <p:spPr>
          <a:xfrm>
            <a:off x="23471604" y="22923914"/>
            <a:ext cx="8295430" cy="118312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Seravek"/>
                <a:cs typeface="Seravek"/>
              </a:rPr>
              <a:t>Generalizes </a:t>
            </a:r>
            <a:r>
              <a:rPr lang="en-US" sz="3600">
                <a:latin typeface="Seravek"/>
                <a:cs typeface="Seravek"/>
              </a:rPr>
              <a:t>to hierarchical </a:t>
            </a:r>
            <a:r>
              <a:rPr lang="en-US" sz="3600" dirty="0">
                <a:latin typeface="Seravek"/>
                <a:cs typeface="Seravek"/>
              </a:rPr>
              <a:t>scheduling)</a:t>
            </a:r>
            <a:endParaRPr lang="en-US" sz="3600" dirty="0">
              <a:latin typeface="Seravek"/>
              <a:cs typeface="Seravek"/>
            </a:endParaRPr>
          </a:p>
        </p:txBody>
      </p:sp>
      <p:sp>
        <p:nvSpPr>
          <p:cNvPr id="2132" name="Rounded Rectangle 2131"/>
          <p:cNvSpPr/>
          <p:nvPr/>
        </p:nvSpPr>
        <p:spPr>
          <a:xfrm>
            <a:off x="23052776" y="25014679"/>
            <a:ext cx="8986023" cy="584632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3" name="Title 1"/>
          <p:cNvSpPr txBox="1">
            <a:spLocks/>
          </p:cNvSpPr>
          <p:nvPr/>
        </p:nvSpPr>
        <p:spPr>
          <a:xfrm>
            <a:off x="23549781" y="25078298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Hardware implementation</a:t>
            </a:r>
            <a:endParaRPr lang="en-US" sz="2773" b="1" dirty="0">
              <a:solidFill>
                <a:srgbClr val="C00000"/>
              </a:solidFill>
              <a:latin typeface="Gadug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073161" y="25825311"/>
            <a:ext cx="6949010" cy="3350710"/>
          </a:xfrm>
          <a:prstGeom prst="rect">
            <a:avLst/>
          </a:prstGeom>
        </p:spPr>
      </p:pic>
      <p:sp>
        <p:nvSpPr>
          <p:cNvPr id="2188" name="Rounded Rectangle 2187"/>
          <p:cNvSpPr/>
          <p:nvPr/>
        </p:nvSpPr>
        <p:spPr>
          <a:xfrm>
            <a:off x="23269152" y="29452232"/>
            <a:ext cx="8497883" cy="1103964"/>
          </a:xfrm>
          <a:prstGeom prst="roundRect">
            <a:avLst/>
          </a:prstGeom>
          <a:solidFill>
            <a:srgbClr val="901028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Seravek"/>
                <a:cs typeface="Seravek"/>
              </a:rPr>
              <a:t>Meets timing at 1 GHz, 4% area overhead</a:t>
            </a:r>
            <a:endParaRPr lang="en-US" sz="3600" dirty="0">
              <a:latin typeface="Seravek"/>
              <a:cs typeface="Seravek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7969" y="3292992"/>
            <a:ext cx="2498158" cy="1398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3960" y="3471967"/>
            <a:ext cx="3962399" cy="1374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2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1" grpId="0" animBg="1"/>
      <p:bldP spid="2096" grpId="0" animBg="1"/>
      <p:bldP spid="2099" grpId="0" build="p"/>
      <p:bldP spid="2106" grpId="0" animBg="1"/>
      <p:bldP spid="2125" grpId="0"/>
      <p:bldP spid="2130" grpId="0" animBg="1"/>
      <p:bldP spid="2131" grpId="0" animBg="1"/>
      <p:bldP spid="218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6</TotalTime>
  <Words>484</Words>
  <Application>Microsoft Macintosh PowerPoint</Application>
  <PresentationFormat>Custom</PresentationFormat>
  <Paragraphs>1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Gadugi</vt:lpstr>
      <vt:lpstr>Seravek</vt:lpstr>
      <vt:lpstr>Arial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Microsoft Office User</cp:lastModifiedBy>
  <cp:revision>310</cp:revision>
  <cp:lastPrinted>2015-11-18T19:46:51Z</cp:lastPrinted>
  <dcterms:created xsi:type="dcterms:W3CDTF">2015-11-18T16:41:48Z</dcterms:created>
  <dcterms:modified xsi:type="dcterms:W3CDTF">2016-07-09T05:34:27Z</dcterms:modified>
</cp:coreProperties>
</file>